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8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8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aubins.raj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hyperlink" Target="https://www.linkedin.com/in/sowmya-jakkampudi-8148bb229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Online Shopping cart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200" dirty="0"/>
              <a:t>Completed end to end case study of Online Shopping cart along with </a:t>
            </a:r>
            <a:r>
              <a:rPr lang="en-IN" altLang="en-US" sz="1200" dirty="0" err="1"/>
              <a:t>Postgre</a:t>
            </a:r>
            <a:r>
              <a:rPr lang="en-IN" altLang="en-US" sz="1200" dirty="0"/>
              <a:t> SQL , Stream API , Postman and Spring Security for Authentication.</a:t>
            </a:r>
            <a:r>
              <a:rPr lang="en-US" altLang="en-US" sz="1200" dirty="0"/>
              <a:t> Html, CSS and React Bootstrap used for user interface.</a:t>
            </a:r>
            <a:endParaRPr lang="en-US" altLang="nl-NL" sz="1200" b="1" dirty="0"/>
          </a:p>
          <a:p>
            <a:pPr eaLnBrk="1" hangingPunct="1">
              <a:lnSpc>
                <a:spcPct val="114000"/>
              </a:lnSpc>
            </a:pPr>
            <a:endParaRPr lang="en-IN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46796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45644" y="1579168"/>
            <a:ext cx="3165475" cy="225425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Jakkampudi.sowmya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28989" y="1825625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550546757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JS and Java Microservice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100" dirty="0"/>
              <a:t>Also Implemented Nodejs in case study and upskilling day by day.</a:t>
            </a:r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B.Tech</a:t>
            </a:r>
            <a:r>
              <a:rPr lang="en-US" altLang="nl-NL" sz="1000" dirty="0"/>
              <a:t> in Computer Science and Engineering : 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Technology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actJ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Postgre</a:t>
            </a:r>
            <a:r>
              <a:rPr lang="en-US" altLang="nl-NL" sz="1000" dirty="0"/>
              <a:t>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Sowmya, </a:t>
            </a:r>
            <a:r>
              <a:rPr lang="en-IN" altLang="en-US" dirty="0" err="1"/>
              <a:t>Jakkampudi</a:t>
            </a:r>
            <a:endParaRPr lang="en-IN" altLang="en-US" dirty="0"/>
          </a:p>
        </p:txBody>
      </p:sp>
      <p:pic>
        <p:nvPicPr>
          <p:cNvPr id="7182" name="Picture 4" descr="Free icon download | Linkedin">
            <a:hlinkClick r:id="rId4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4510" y="5157192"/>
            <a:ext cx="1286570" cy="1286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2334" y="1947863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1" name="Picture Placeholder 10" descr="A picture containing clothing&#10;&#10;Description automatically generated">
            <a:extLst>
              <a:ext uri="{FF2B5EF4-FFF2-40B4-BE49-F238E27FC236}">
                <a16:creationId xmlns:a16="http://schemas.microsoft.com/office/drawing/2014/main" id="{A1E94ECC-DA33-4D12-9177-0FECC6803DE9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53" b="14153"/>
          <a:stretch>
            <a:fillRect/>
          </a:stretch>
        </p:blipFill>
        <p:spPr>
          <a:xfrm>
            <a:off x="398533" y="290513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fd33c62d-2c11-46e7-88a2-e90fa986d9d0"/>
    <ds:schemaRef ds:uri="http://schemas.microsoft.com/office/2006/documentManagement/types"/>
    <ds:schemaRef ds:uri="http://schemas.microsoft.com/office/2006/metadata/properties"/>
    <ds:schemaRef ds:uri="http://purl.org/dc/elements/1.1/"/>
    <ds:schemaRef ds:uri="47da6acf-edf2-43bc-9595-f721a214a14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707</TotalTime>
  <Words>196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Prasad, Kashish</cp:lastModifiedBy>
  <cp:revision>105</cp:revision>
  <dcterms:created xsi:type="dcterms:W3CDTF">2017-12-08T05:27:40Z</dcterms:created>
  <dcterms:modified xsi:type="dcterms:W3CDTF">2022-04-08T04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